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1.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0.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1.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6"/>
  </p:notesMasterIdLst>
  <p:sldIdLst>
    <p:sldId id="2076137812" r:id="rId19"/>
    <p:sldId id="2076138062" r:id="rId20"/>
    <p:sldId id="2134805668" r:id="rId21"/>
    <p:sldId id="2134805680" r:id="rId22"/>
    <p:sldId id="2120" r:id="rId23"/>
    <p:sldId id="2145705987" r:id="rId24"/>
    <p:sldId id="2145705988" r:id="rId25"/>
    <p:sldId id="2134805707" r:id="rId26"/>
    <p:sldId id="2134805684" r:id="rId27"/>
    <p:sldId id="2134805695" r:id="rId28"/>
    <p:sldId id="2147478636" r:id="rId29"/>
    <p:sldId id="2147478638" r:id="rId30"/>
    <p:sldId id="2147478639" r:id="rId31"/>
    <p:sldId id="2076137823" r:id="rId32"/>
    <p:sldId id="2134805708" r:id="rId33"/>
    <p:sldId id="2076137847" r:id="rId34"/>
    <p:sldId id="2145705971" r:id="rId35"/>
    <p:sldId id="2076137848" r:id="rId36"/>
    <p:sldId id="2145705937" r:id="rId37"/>
    <p:sldId id="2145705951" r:id="rId38"/>
    <p:sldId id="2076137850" r:id="rId39"/>
    <p:sldId id="2145705972" r:id="rId40"/>
    <p:sldId id="2145705973" r:id="rId41"/>
    <p:sldId id="2076137849" r:id="rId42"/>
    <p:sldId id="2145705978" r:id="rId43"/>
    <p:sldId id="2145705977" r:id="rId44"/>
    <p:sldId id="2145705979" r:id="rId45"/>
    <p:sldId id="2076137853" r:id="rId46"/>
    <p:sldId id="2145705976" r:id="rId47"/>
    <p:sldId id="2076137851" r:id="rId48"/>
    <p:sldId id="2145705974" r:id="rId49"/>
    <p:sldId id="2145705980" r:id="rId50"/>
    <p:sldId id="2076137852" r:id="rId51"/>
    <p:sldId id="4649" r:id="rId52"/>
    <p:sldId id="2145705947" r:id="rId53"/>
    <p:sldId id="2076136993" r:id="rId54"/>
    <p:sldId id="2040" r:id="rId55"/>
    <p:sldId id="2145705975" r:id="rId56"/>
    <p:sldId id="2145705981" r:id="rId57"/>
    <p:sldId id="2145705982" r:id="rId58"/>
    <p:sldId id="2145705984" r:id="rId59"/>
    <p:sldId id="2145705983" r:id="rId60"/>
    <p:sldId id="2076137854" r:id="rId61"/>
    <p:sldId id="2145705985" r:id="rId62"/>
    <p:sldId id="2076137830" r:id="rId63"/>
    <p:sldId id="2147478641" r:id="rId64"/>
    <p:sldId id="2076137838"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34805668"/>
            <p14:sldId id="2134805680"/>
            <p14:sldId id="2120"/>
            <p14:sldId id="2145705987"/>
            <p14:sldId id="2145705988"/>
            <p14:sldId id="2134805707"/>
            <p14:sldId id="2134805684"/>
            <p14:sldId id="2134805695"/>
            <p14:sldId id="2147478636"/>
            <p14:sldId id="2147478638"/>
            <p14:sldId id="2147478639"/>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5DD2E6-22B4-4BF5-9176-595B441E8D01}" v="196" dt="2022-10-04T08:01:31.8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325" autoAdjust="0"/>
    <p:restoredTop sz="90895" autoAdjust="0"/>
  </p:normalViewPr>
  <p:slideViewPr>
    <p:cSldViewPr snapToGrid="0">
      <p:cViewPr varScale="1">
        <p:scale>
          <a:sx n="110" d="100"/>
          <a:sy n="110" d="100"/>
        </p:scale>
        <p:origin x="1140"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presProps" Target="pres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 Type="http://schemas.openxmlformats.org/officeDocument/2006/relationships/slideMaster" Target="slideMasters/slideMaster4.xml"/><Relationship Id="rId7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CD5DD2E6-22B4-4BF5-9176-595B441E8D01}"/>
    <pc:docChg chg="undo custSel delSld modSld sldOrd delMainMaster delSection modSection">
      <pc:chgData name="Jonathan Vella" userId="ff59d9e4-9df8-4ae6-90e3-b837e2f6651b" providerId="ADAL" clId="{CD5DD2E6-22B4-4BF5-9176-595B441E8D01}" dt="2022-10-07T11:55:43.355" v="442" actId="20577"/>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ord">
        <pc:chgData name="Jonathan Vella" userId="ff59d9e4-9df8-4ae6-90e3-b837e2f6651b" providerId="ADAL" clId="{CD5DD2E6-22B4-4BF5-9176-595B441E8D01}" dt="2022-10-04T07:58:12.342" v="349"/>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0-04T07:37:49.110" v="116" actId="20577"/>
        <pc:sldMkLst>
          <pc:docMk/>
          <pc:sldMk cId="3466835861" sldId="2145705971"/>
        </pc:sldMkLst>
        <pc:spChg chg="mod">
          <ac:chgData name="Jonathan Vella" userId="ff59d9e4-9df8-4ae6-90e3-b837e2f6651b" providerId="ADAL" clId="{CD5DD2E6-22B4-4BF5-9176-595B441E8D01}" dt="2022-10-04T07:37:49.110" v="116"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0-04T07:39:44.127" v="166" actId="20577"/>
        <pc:sldMkLst>
          <pc:docMk/>
          <pc:sldMk cId="3155259312" sldId="2145705972"/>
        </pc:sldMkLst>
        <pc:spChg chg="mod">
          <ac:chgData name="Jonathan Vella" userId="ff59d9e4-9df8-4ae6-90e3-b837e2f6651b" providerId="ADAL" clId="{CD5DD2E6-22B4-4BF5-9176-595B441E8D01}" dt="2022-10-04T07:39:44.127" v="166"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0-04T07:44:08.775" v="237" actId="20577"/>
        <pc:sldMkLst>
          <pc:docMk/>
          <pc:sldMk cId="3122214548" sldId="2145705974"/>
        </pc:sldMkLst>
        <pc:spChg chg="mod">
          <ac:chgData name="Jonathan Vella" userId="ff59d9e4-9df8-4ae6-90e3-b837e2f6651b" providerId="ADAL" clId="{CD5DD2E6-22B4-4BF5-9176-595B441E8D01}" dt="2022-10-04T07:44:08.775" v="237"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7T11:55:43.355" v="442" actId="20577"/>
        <pc:sldMkLst>
          <pc:docMk/>
          <pc:sldMk cId="3846288735" sldId="2145705983"/>
        </pc:sldMkLst>
        <pc:spChg chg="mod">
          <ac:chgData name="Jonathan Vella" userId="ff59d9e4-9df8-4ae6-90e3-b837e2f6651b" providerId="ADAL" clId="{CD5DD2E6-22B4-4BF5-9176-595B441E8D01}" dt="2022-10-07T11:55:43.355" v="442" actId="20577"/>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del">
        <pc:chgData name="Jonathan Vella" userId="ff59d9e4-9df8-4ae6-90e3-b837e2f6651b" providerId="ADAL" clId="{CD5DD2E6-22B4-4BF5-9176-595B441E8D01}" dt="2022-10-04T07:58:21.717" v="350" actId="47"/>
        <pc:sldMkLst>
          <pc:docMk/>
          <pc:sldMk cId="1297839373" sldId="2147478637"/>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0/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a:solidFill>
                  <a:srgbClr val="171717"/>
                </a:solidFill>
                <a:effectLst/>
                <a:latin typeface="Segoe UI" panose="020B0502040204020203" pitchFamily="34" charset="0"/>
              </a:rPr>
              <a:t>You have your own </a:t>
            </a:r>
            <a:r>
              <a:rPr lang="en-US" b="0" i="1">
                <a:solidFill>
                  <a:srgbClr val="171717"/>
                </a:solidFill>
                <a:effectLst/>
                <a:latin typeface="Segoe UI" panose="020B0502040204020203" pitchFamily="34" charset="0"/>
              </a:rPr>
              <a:t>control plane</a:t>
            </a:r>
            <a:r>
              <a:rPr lang="en-US" b="0" i="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In Azure Active Directory (Azure AD), part of Microsoft </a:t>
            </a:r>
            <a:r>
              <a:rPr lang="en-US" b="0" i="0" err="1">
                <a:solidFill>
                  <a:srgbClr val="171717"/>
                </a:solidFill>
                <a:effectLst/>
                <a:latin typeface="Segoe UI" panose="020B0502040204020203" pitchFamily="34" charset="0"/>
              </a:rPr>
              <a:t>Entra</a:t>
            </a:r>
            <a:r>
              <a:rPr lang="en-US" b="0" i="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dministrative independence</a:t>
            </a:r>
          </a:p>
          <a:p>
            <a:pPr algn="l"/>
            <a:r>
              <a:rPr lang="en-US" b="0" i="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94545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In Azure Active Directory (Azure AD), part of Microsoft </a:t>
            </a:r>
            <a:r>
              <a:rPr lang="en-US" b="0" i="0" err="1">
                <a:solidFill>
                  <a:srgbClr val="171717"/>
                </a:solidFill>
                <a:effectLst/>
                <a:latin typeface="Segoe UI" panose="020B0502040204020203" pitchFamily="34" charset="0"/>
              </a:rPr>
              <a:t>Entra</a:t>
            </a:r>
            <a:r>
              <a:rPr lang="en-US" b="0" i="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dministrative independence</a:t>
            </a:r>
          </a:p>
          <a:p>
            <a:pPr algn="l"/>
            <a:r>
              <a:rPr lang="en-US" b="0" i="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8</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1</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4</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8</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3</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9</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3</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The ALZ architecture should </a:t>
            </a:r>
            <a:r>
              <a:rPr lang="en-US" sz="900" b="1" i="0" strike="sngStrike" kern="1200">
                <a:solidFill>
                  <a:schemeClr val="tx1"/>
                </a:solidFill>
                <a:effectLst/>
                <a:latin typeface="Segoe UI" panose="020B0502040204020203" pitchFamily="34" charset="0"/>
                <a:ea typeface="+mn-ea"/>
                <a:cs typeface="+mn-cs"/>
              </a:rPr>
              <a:t>NOT</a:t>
            </a:r>
            <a:r>
              <a:rPr lang="en-US" sz="900" b="0" i="0" strike="sngStrike" kern="120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err="1">
                <a:solidFill>
                  <a:schemeClr val="tx1"/>
                </a:solidFill>
                <a:effectLst/>
                <a:latin typeface="Segoe UI" panose="020B0502040204020203" pitchFamily="34" charset="0"/>
                <a:ea typeface="+mn-ea"/>
                <a:cs typeface="+mn-cs"/>
              </a:rPr>
              <a:t>AppOps</a:t>
            </a:r>
            <a:r>
              <a:rPr lang="en-US" sz="900" b="0" i="0" strike="sngStrike" kern="120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a:latin typeface="Segoe UI"/>
                <a:cs typeface="Segoe UI"/>
              </a:rPr>
              <a:t>The ALZ architecture</a:t>
            </a:r>
            <a:r>
              <a:rPr lang="en-US" sz="900" b="0" i="0" strike="sngStrike" kern="120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a:solidFill>
                  <a:schemeClr val="tx1"/>
                </a:solidFill>
                <a:effectLst/>
                <a:latin typeface="Segoe UI"/>
                <a:cs typeface="Segoe UI"/>
              </a:rPr>
              <a:t>The</a:t>
            </a:r>
            <a:r>
              <a:rPr lang="en-US" sz="900" strike="sngStrike">
                <a:latin typeface="Segoe UI"/>
                <a:cs typeface="Segoe UI"/>
              </a:rPr>
              <a:t> ALZ</a:t>
            </a:r>
            <a:r>
              <a:rPr lang="en-US" sz="900" b="0" i="0" strike="sngStrike" kern="120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a:latin typeface="Segoe UI"/>
              <a:cs typeface="Segoe UI"/>
            </a:endParaRPr>
          </a:p>
          <a:p>
            <a:pPr marL="228600" indent="-228600">
              <a:buFont typeface="+mj-lt"/>
              <a:buAutoNum type="arabicPeriod"/>
            </a:pPr>
            <a:r>
              <a:rPr lang="en-US" sz="882" b="0" i="0" strike="sngStrike" kern="120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2022 1: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Azure landing zone conceptual architecture</a:t>
            </a:r>
          </a:p>
          <a:p>
            <a:endParaRPr lang="en-US" b="0"/>
          </a:p>
          <a:p>
            <a:r>
              <a:rPr lang="en-US" b="0"/>
              <a:t>The destination (or target end-state) of the journey.</a:t>
            </a:r>
            <a:endParaRPr lang="en-US" b="0">
              <a:cs typeface="Calibri"/>
            </a:endParaRPr>
          </a:p>
          <a:p>
            <a:endParaRPr lang="en-US" b="0"/>
          </a:p>
          <a:p>
            <a:r>
              <a:rPr lang="en-US" b="0"/>
              <a:t>Scaled-out controls and architecture to enable customers to grow and innovate safely</a:t>
            </a:r>
            <a:endParaRPr lang="en-US" b="0">
              <a:cs typeface="Calibri"/>
            </a:endParaRPr>
          </a:p>
          <a:p>
            <a:endParaRPr lang="en-US" b="0"/>
          </a:p>
          <a:p>
            <a:r>
              <a:rPr lang="en-US" b="0"/>
              <a:t>Depending on the cloud operating model chosen, you may arrive at this destination quickly, or over time. </a:t>
            </a:r>
          </a:p>
          <a:p>
            <a:r>
              <a:rPr lang="en-US" b="0"/>
              <a:t>This may represent a subset of your estate, if you scale into enterprise operations or distributed operations</a:t>
            </a:r>
          </a:p>
          <a:p>
            <a:endParaRPr lang="en-US" b="0">
              <a:cs typeface="Calibri"/>
            </a:endParaRPr>
          </a:p>
          <a:p>
            <a:r>
              <a:rPr lang="en-US" b="0">
                <a:cs typeface="Calibri"/>
              </a:rPr>
              <a:t>We are learning from engagements with customers and partners, codifying best practices guidance for the cloud adoption journey.</a:t>
            </a:r>
          </a:p>
          <a:p>
            <a:endParaRPr lang="en-US" b="0">
              <a:cs typeface="Calibri"/>
            </a:endParaRPr>
          </a:p>
          <a:p>
            <a:r>
              <a:rPr lang="en-US" b="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0/7/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0/7/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0/7/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0/7/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0/7/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0/7/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0/7/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0/7/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416.xml"/><Relationship Id="rId4" Type="http://schemas.openxmlformats.org/officeDocument/2006/relationships/image" Target="../media/image123.png"/></Relationships>
</file>

<file path=ppt/slides/_rels/slide11.xml.rels><?xml version="1.0" encoding="UTF-8" standalone="yes"?>
<Relationships xmlns="http://schemas.openxmlformats.org/package/2006/relationships"><Relationship Id="rId3" Type="http://schemas.openxmlformats.org/officeDocument/2006/relationships/hyperlink" Target="https://aka.ms/alz/isv" TargetMode="External"/><Relationship Id="rId7" Type="http://schemas.openxmlformats.org/officeDocument/2006/relationships/image" Target="../media/image141.png"/><Relationship Id="rId2" Type="http://schemas.openxmlformats.org/officeDocument/2006/relationships/notesSlide" Target="../notesSlides/notesSlide11.xml"/><Relationship Id="rId1" Type="http://schemas.openxmlformats.org/officeDocument/2006/relationships/slideLayout" Target="../slideLayouts/slideLayout416.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1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2.xml"/><Relationship Id="rId1" Type="http://schemas.openxmlformats.org/officeDocument/2006/relationships/slideLayout" Target="../slideLayouts/slideLayout416.xml"/></Relationships>
</file>

<file path=ppt/slides/_rels/slide1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hyperlink" Target="https://aka.ms/alz/bicep"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5.svg"/><Relationship Id="rId4" Type="http://schemas.openxmlformats.org/officeDocument/2006/relationships/image" Target="../media/image134.png"/></Relationships>
</file>

<file path=ppt/slides/_rels/slide1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6.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1.xml"/></Relationships>
</file>

<file path=ppt/slides/_rels/slide1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1.xml"/></Relationships>
</file>

<file path=ppt/slides/_rels/slide2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6.xml"/><Relationship Id="rId1" Type="http://schemas.openxmlformats.org/officeDocument/2006/relationships/slideLayout" Target="../slideLayouts/slideLayout291.xml"/></Relationships>
</file>

<file path=ppt/slides/_rels/slide2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7.xml"/><Relationship Id="rId1" Type="http://schemas.openxmlformats.org/officeDocument/2006/relationships/slideLayout" Target="../slideLayouts/slideLayout291.xml"/><Relationship Id="rId4" Type="http://schemas.openxmlformats.org/officeDocument/2006/relationships/hyperlink" Target="https://youtu.be/Zx_gHevekm0?t=1954"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28.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0.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3.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6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9.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3.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4.xml"/></Relationships>
</file>

<file path=ppt/slides/_rels/slide46.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3.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7.sv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5.svg"/><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Sep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64119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Independent software vendor (ISV) considerations for Azure landing zones</a:t>
            </a:r>
          </a:p>
        </p:txBody>
      </p:sp>
      <p:sp>
        <p:nvSpPr>
          <p:cNvPr id="4" name="TextBox 3">
            <a:extLst>
              <a:ext uri="{FF2B5EF4-FFF2-40B4-BE49-F238E27FC236}">
                <a16:creationId xmlns:a16="http://schemas.microsoft.com/office/drawing/2014/main" id="{8188A249-DDCD-E540-DAB8-F752722FDF96}"/>
              </a:ext>
            </a:extLst>
          </p:cNvPr>
          <p:cNvSpPr txBox="1"/>
          <p:nvPr/>
        </p:nvSpPr>
        <p:spPr>
          <a:xfrm>
            <a:off x="206063" y="1088265"/>
            <a:ext cx="3264355"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3"/>
              </a:rPr>
              <a:t>https://aka.ms/alz/isv</a:t>
            </a: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pic>
        <p:nvPicPr>
          <p:cNvPr id="1026" name="Picture 2" descr="Diagram that shows a pure SaaS deployment model. A user directly uses the application deployed into the I S V's Azure subscription.">
            <a:extLst>
              <a:ext uri="{FF2B5EF4-FFF2-40B4-BE49-F238E27FC236}">
                <a16:creationId xmlns:a16="http://schemas.microsoft.com/office/drawing/2014/main" id="{D58A1B3C-C221-0D9D-74EF-A9B727DEDE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261" y="2711428"/>
            <a:ext cx="2511280" cy="94542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C652E4-E6B0-0D4E-28A1-953876E8AB51}"/>
              </a:ext>
            </a:extLst>
          </p:cNvPr>
          <p:cNvSpPr txBox="1"/>
          <p:nvPr/>
        </p:nvSpPr>
        <p:spPr>
          <a:xfrm>
            <a:off x="543016" y="2021661"/>
            <a:ext cx="170700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Pure SaaS</a:t>
            </a:r>
          </a:p>
        </p:txBody>
      </p:sp>
      <p:pic>
        <p:nvPicPr>
          <p:cNvPr id="1028" name="Picture 4" descr="Diagram that shows a customer-deployed deployment model. A customer deploys resources provided by the ISV into their own Azure subscription, and users use those resources.">
            <a:extLst>
              <a:ext uri="{FF2B5EF4-FFF2-40B4-BE49-F238E27FC236}">
                <a16:creationId xmlns:a16="http://schemas.microsoft.com/office/drawing/2014/main" id="{1B2AD004-FA99-BCC6-A00F-1B35BF992B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6790" y="2711428"/>
            <a:ext cx="4289999" cy="1560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338151-6C55-E760-E4D0-17AC0D578D50}"/>
              </a:ext>
            </a:extLst>
          </p:cNvPr>
          <p:cNvSpPr txBox="1"/>
          <p:nvPr/>
        </p:nvSpPr>
        <p:spPr>
          <a:xfrm>
            <a:off x="4250505" y="2021661"/>
            <a:ext cx="307129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ustomer-deployed</a:t>
            </a:r>
          </a:p>
        </p:txBody>
      </p:sp>
      <p:pic>
        <p:nvPicPr>
          <p:cNvPr id="1030" name="Picture 6" descr="Diagram that shows a dual deployment SaaS deployment model.">
            <a:extLst>
              <a:ext uri="{FF2B5EF4-FFF2-40B4-BE49-F238E27FC236}">
                <a16:creationId xmlns:a16="http://schemas.microsoft.com/office/drawing/2014/main" id="{15ED2CAE-9192-3F84-8441-66F3987732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0038" y="2761236"/>
            <a:ext cx="4016053" cy="146038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2583509-31F2-C120-D2C9-A3C9F75D3934}"/>
              </a:ext>
            </a:extLst>
          </p:cNvPr>
          <p:cNvSpPr txBox="1"/>
          <p:nvPr/>
        </p:nvSpPr>
        <p:spPr>
          <a:xfrm>
            <a:off x="8018560" y="2083564"/>
            <a:ext cx="343587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ual deployment SaaS</a:t>
            </a:r>
          </a:p>
        </p:txBody>
      </p:sp>
      <p:sp>
        <p:nvSpPr>
          <p:cNvPr id="9" name="TextBox 8">
            <a:extLst>
              <a:ext uri="{FF2B5EF4-FFF2-40B4-BE49-F238E27FC236}">
                <a16:creationId xmlns:a16="http://schemas.microsoft.com/office/drawing/2014/main" id="{7524AD44-ACE3-6CBC-BADB-9C44DA022B5F}"/>
              </a:ext>
            </a:extLst>
          </p:cNvPr>
          <p:cNvSpPr txBox="1"/>
          <p:nvPr/>
        </p:nvSpPr>
        <p:spPr>
          <a:xfrm>
            <a:off x="294985" y="1559460"/>
            <a:ext cx="281180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SV deployment models:</a:t>
            </a:r>
          </a:p>
        </p:txBody>
      </p:sp>
      <p:sp>
        <p:nvSpPr>
          <p:cNvPr id="10" name="TextBox 9">
            <a:extLst>
              <a:ext uri="{FF2B5EF4-FFF2-40B4-BE49-F238E27FC236}">
                <a16:creationId xmlns:a16="http://schemas.microsoft.com/office/drawing/2014/main" id="{089E06FE-0E90-289C-C3E7-9D0919A1BFDC}"/>
              </a:ext>
            </a:extLst>
          </p:cNvPr>
          <p:cNvSpPr txBox="1"/>
          <p:nvPr/>
        </p:nvSpPr>
        <p:spPr>
          <a:xfrm>
            <a:off x="294984" y="4086762"/>
            <a:ext cx="281180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zure Active Directory:</a:t>
            </a:r>
          </a:p>
        </p:txBody>
      </p:sp>
      <p:pic>
        <p:nvPicPr>
          <p:cNvPr id="11" name="Picture 2" descr="Diagram that shows Azure AD tenant options for ISVs with a single corporate tenant or separation between corporate and SaaS Ops tenants.">
            <a:extLst>
              <a:ext uri="{FF2B5EF4-FFF2-40B4-BE49-F238E27FC236}">
                <a16:creationId xmlns:a16="http://schemas.microsoft.com/office/drawing/2014/main" id="{2FA2AD13-1032-64D0-014C-A6A49052CC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4985" y="4439487"/>
            <a:ext cx="5010150" cy="2305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90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Managed Service Providers (MSP) considerations for Azure landing zones</a:t>
            </a:r>
          </a:p>
        </p:txBody>
      </p:sp>
      <p:sp>
        <p:nvSpPr>
          <p:cNvPr id="8" name="TextBox 7">
            <a:extLst>
              <a:ext uri="{FF2B5EF4-FFF2-40B4-BE49-F238E27FC236}">
                <a16:creationId xmlns:a16="http://schemas.microsoft.com/office/drawing/2014/main" id="{2A83C0CF-7249-F7BA-9A83-DAC77945D985}"/>
              </a:ext>
            </a:extLst>
          </p:cNvPr>
          <p:cNvSpPr txBox="1"/>
          <p:nvPr/>
        </p:nvSpPr>
        <p:spPr>
          <a:xfrm>
            <a:off x="260059" y="1317071"/>
            <a:ext cx="4236363" cy="12926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landing zone         Trey Research Reference Implementation </a:t>
            </a:r>
          </a:p>
        </p:txBody>
      </p:sp>
      <p:pic>
        <p:nvPicPr>
          <p:cNvPr id="2052" name="Picture 4" descr="Trey Research">
            <a:extLst>
              <a:ext uri="{FF2B5EF4-FFF2-40B4-BE49-F238E27FC236}">
                <a16:creationId xmlns:a16="http://schemas.microsoft.com/office/drawing/2014/main" id="{69791207-538F-BADE-C7B2-6DFA390C3F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4598" y="1317071"/>
            <a:ext cx="7289851" cy="48278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70287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Managed Service Providers (MSP) considerations for Azure landing zones</a:t>
            </a:r>
          </a:p>
        </p:txBody>
      </p:sp>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sp>
        <p:nvSpPr>
          <p:cNvPr id="8" name="TextBox 7">
            <a:extLst>
              <a:ext uri="{FF2B5EF4-FFF2-40B4-BE49-F238E27FC236}">
                <a16:creationId xmlns:a16="http://schemas.microsoft.com/office/drawing/2014/main" id="{2A83C0CF-7249-F7BA-9A83-DAC77945D985}"/>
              </a:ext>
            </a:extLst>
          </p:cNvPr>
          <p:cNvSpPr txBox="1"/>
          <p:nvPr/>
        </p:nvSpPr>
        <p:spPr>
          <a:xfrm>
            <a:off x="352261" y="1214257"/>
            <a:ext cx="415255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landing zone Bicep Reference Implementation </a:t>
            </a:r>
          </a:p>
        </p:txBody>
      </p:sp>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4" name="TextBox 3">
            <a:extLst>
              <a:ext uri="{FF2B5EF4-FFF2-40B4-BE49-F238E27FC236}">
                <a16:creationId xmlns:a16="http://schemas.microsoft.com/office/drawing/2014/main" id="{C082D370-A204-8BA4-F692-2CA75F384FDA}"/>
              </a:ext>
            </a:extLst>
          </p:cNvPr>
          <p:cNvSpPr txBox="1"/>
          <p:nvPr/>
        </p:nvSpPr>
        <p:spPr>
          <a:xfrm>
            <a:off x="8255800" y="769387"/>
            <a:ext cx="365228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4"/>
              </a:rPr>
              <a:t>https://aka.ms/alz/bicep</a:t>
            </a: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255859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Remember that an Azure subscription can only trust one and only one Azure AD tenant at a time.</a:t>
            </a:r>
          </a:p>
          <a:p>
            <a:r>
              <a:rPr lang="en-US" sz="1800" dirty="0"/>
              <a:t>If there’s no identity infrastructure, start by implementing an Azure AD only identity deployment. But don’t forget to define your Azure SSO strategy!</a:t>
            </a:r>
          </a:p>
          <a:p>
            <a:r>
              <a:rPr lang="en-US" sz="1800" dirty="0"/>
              <a:t>Add at least one custom domain and define a single-sign on strategy using AAD Connect.</a:t>
            </a:r>
          </a:p>
          <a:p>
            <a:r>
              <a:rPr lang="en-US" sz="1800" dirty="0"/>
              <a:t>Enforce MFA via CAP for all privileged accounts ASAP. No MFA = “</a:t>
            </a:r>
            <a:r>
              <a:rPr lang="en-US" sz="1800" dirty="0" err="1"/>
              <a:t>pleasebreachme</a:t>
            </a:r>
            <a:r>
              <a:rPr lang="en-US" sz="1800" dirty="0"/>
              <a:t>”! And don’t forget to create a break-glass account.</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Even if you are an ISV. Unless you have a rock-solid reason.</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animEffect transition="in" filter="fade">
                                      <p:cBhvr>
                                        <p:cTn id="7" dur="500"/>
                                        <p:tgtEl>
                                          <p:spTgt spid="15">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5" end="5"/>
                                            </p:txEl>
                                          </p:spTgt>
                                        </p:tgtEl>
                                        <p:attrNameLst>
                                          <p:attrName>style.visibility</p:attrName>
                                        </p:attrNameLst>
                                      </p:cBhvr>
                                      <p:to>
                                        <p:strVal val="visible"/>
                                      </p:to>
                                    </p:set>
                                    <p:animEffect transition="in" filter="fade">
                                      <p:cBhvr>
                                        <p:cTn id="12" dur="500"/>
                                        <p:tgtEl>
                                          <p:spTgt spid="15">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6" end="6"/>
                                            </p:txEl>
                                          </p:spTgt>
                                        </p:tgtEl>
                                        <p:attrNameLst>
                                          <p:attrName>style.visibility</p:attrName>
                                        </p:attrNameLst>
                                      </p:cBhvr>
                                      <p:to>
                                        <p:strVal val="visible"/>
                                      </p:to>
                                    </p:set>
                                    <p:animEffect transition="in" filter="fade">
                                      <p:cBhvr>
                                        <p:cTn id="17" dur="500"/>
                                        <p:tgtEl>
                                          <p:spTgt spid="15">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3" end="3"/>
                                            </p:txEl>
                                          </p:spTgt>
                                        </p:tgtEl>
                                        <p:attrNameLst>
                                          <p:attrName>style.visibility</p:attrName>
                                        </p:attrNameLst>
                                      </p:cBhvr>
                                      <p:to>
                                        <p:strVal val="visible"/>
                                      </p:to>
                                    </p:set>
                                    <p:animEffect transition="in" filter="fade">
                                      <p:cBhvr>
                                        <p:cTn id="37"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 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 And (where supported) i</a:t>
            </a:r>
            <a:r>
              <a:rPr lang="en-US" sz="2000" spc="-50" dirty="0" err="1">
                <a:ln w="3175">
                  <a:noFill/>
                </a:ln>
                <a:solidFill>
                  <a:srgbClr val="FFFFFF"/>
                </a:solidFill>
                <a:latin typeface="Segoe UI Semibold"/>
                <a:cs typeface="Segoe UI" pitchFamily="34" charset="0"/>
              </a:rPr>
              <a:t>nstead</a:t>
            </a:r>
            <a:r>
              <a:rPr lang="en-US" sz="2000" spc="-50" dirty="0">
                <a:ln w="3175">
                  <a:noFill/>
                </a:ln>
                <a:solidFill>
                  <a:srgbClr val="FFFFFF"/>
                </a:solidFill>
                <a:latin typeface="Segoe UI Semibold"/>
                <a:cs typeface="Segoe UI" pitchFamily="34" charset="0"/>
              </a:rPr>
              <a:t> of service principals, use workload identity federation in scenarios such as GitHub Actions and workloads running on Kubernet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4542782"/>
          </a:xfrm>
        </p:spPr>
        <p:txBody>
          <a:bodyPr/>
          <a:lstStyle/>
          <a:p>
            <a:r>
              <a:rPr lang="en-US" sz="1800" dirty="0"/>
              <a:t>Define a topology. There’s only 2 – Hub &amp; Spoke and Virtual WAN.</a:t>
            </a:r>
          </a:p>
          <a:p>
            <a:r>
              <a:rPr lang="en-US" sz="1800" dirty="0"/>
              <a:t>Plan IP Addressing. Don’t use /16 unless really needed. Use at least /23 for Hub. Avoid overlapping IP address, including BCDR scenarios. Azure reserves 5 IP addresses from every subnet. Some Azure services require dedicated subnets. These dedicated subnets might have restrictions around naming, sizing, NSGs, and UDRs. </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Monitor your network. Use ExpressRoute Insights, Network Watcher, and Connection Monitor.</a:t>
            </a:r>
          </a:p>
          <a:p>
            <a:r>
              <a:rPr lang="en-US" sz="1800" dirty="0"/>
              <a:t>Use virtual network injection for supported Azure services to make them available from within your virtual network. 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62979"/>
          </a:xfrm>
        </p:spPr>
        <p:txBody>
          <a:bodyPr/>
          <a:lstStyle/>
          <a:p>
            <a:r>
              <a:rPr lang="en-US" sz="1800" dirty="0"/>
              <a:t>Use Private Link, where available, for Azure PaaS services.</a:t>
            </a:r>
          </a:p>
          <a:p>
            <a:r>
              <a:rPr lang="en-US" sz="1800" dirty="0"/>
              <a:t>Use virtual network service endpoints to secure access to Azure PaaS services from within your virtual network, but only when Private Link isn't available and there are no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void replicating the organization’s hierarchy chart. What if the customer goes thru a re-org?</a:t>
            </a:r>
          </a:p>
          <a:p>
            <a:r>
              <a:rPr lang="en-US" sz="1800" dirty="0"/>
              <a:t>Avoid organizing for billing purposes. The industry standard is to use Tags (accounting) + Azure Cost Management to query &amp; aggregate costs. Make this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intermediate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 Raise support requests for quota increases under subscription provisioning, such as for total available VM cores within a subscription. Ensure that quota limits are set before workloads exceed the default limits.</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4956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the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295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a:t>
            </a:r>
            <a:r>
              <a:rPr lang="en-US" sz="2000" spc="-50">
                <a:ln w="3175">
                  <a:noFill/>
                </a:ln>
                <a:solidFill>
                  <a:srgbClr val="FFFFFF"/>
                </a:solidFill>
                <a:latin typeface="Segoe UI Semibold"/>
                <a:cs typeface="Segoe UI" pitchFamily="34" charset="0"/>
              </a:rPr>
              <a:t>the modify policy </a:t>
            </a:r>
            <a:r>
              <a:rPr lang="en-US" sz="2000" spc="-50" dirty="0">
                <a:ln w="3175">
                  <a:noFill/>
                </a:ln>
                <a:solidFill>
                  <a:srgbClr val="FFFFFF"/>
                </a:solidFill>
                <a:latin typeface="Segoe UI Semibold"/>
                <a:cs typeface="Segoe UI" pitchFamily="34" charset="0"/>
              </a:rPr>
              <a:t>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cerning central teams, consider using pipelines for continuous integration and continuous deployment.</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ipelines might be used to manage policy and role definitions, policy assignments, management group hierarchies, and subscriptions. These pipelines help ensure that you can operationally manage multiple subscriptions and conform to a desired stat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blanket application of a DevOps model won't instantly establish capable DevOps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zure landing zone accelerator can help integrate continuous integration and continuous deployment (CI/CD) pipelines into the environment using GitHub with GitHub Actions. The portal process guides you through the steps to set up the integr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y integrating CI/CD pipelines into the environment, platform resources can be managed as code in a repositor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9389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a:t>Enable </a:t>
            </a:r>
            <a:r>
              <a:rPr lang="en-GB" sz="2400"/>
              <a:t>Autonomy for Innovation and Transformation</a:t>
            </a:r>
          </a:p>
          <a:p>
            <a:pPr marL="228556" indent="-228556">
              <a:spcAft>
                <a:spcPts val="3400"/>
              </a:spcAft>
              <a:buChar char=""/>
            </a:pPr>
            <a:r>
              <a:rPr lang="en-GB" sz="2400"/>
              <a:t>Security and Compliance By-Default</a:t>
            </a:r>
          </a:p>
          <a:p>
            <a:pPr marL="228556" indent="-228556">
              <a:buChar char=""/>
            </a:pPr>
            <a:r>
              <a:rPr lang="en-GB" sz="2400"/>
              <a:t>Governance At-Scale with Sustainable Cloud Engineering</a:t>
            </a:r>
            <a:endParaRPr lang="en-US" sz="240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a:solidFill>
                  <a:srgbClr val="FFFFFF"/>
                </a:solidFill>
                <a:latin typeface="+mn-lt"/>
              </a:rPr>
              <a:t>Azure Native Design and Platform Roadmap Alignment</a:t>
            </a:r>
            <a:endParaRPr lang="en-US" sz="1800" kern="0">
              <a:solidFill>
                <a:srgbClr val="FFFFFF"/>
              </a:solidFill>
              <a:latin typeface="+mn-lt"/>
            </a:endParaRPr>
          </a:p>
        </p:txBody>
      </p:sp>
    </p:spTree>
    <p:extLst>
      <p:ext uri="{BB962C8B-B14F-4D97-AF65-F5344CB8AC3E}">
        <p14:creationId xmlns:p14="http://schemas.microsoft.com/office/powerpoint/2010/main" val="3518130478"/>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a:solidFill>
                  <a:schemeClr val="accent4"/>
                </a:solidFill>
              </a:rPr>
              <a:t>Azure landing zone </a:t>
            </a:r>
            <a:r>
              <a:rPr lang="en-US" sz="3600"/>
              <a:t>conceptual architecture</a:t>
            </a:r>
            <a:br>
              <a:rPr lang="en-US" sz="3600"/>
            </a:br>
            <a:r>
              <a:rPr lang="en-US" sz="2800">
                <a:solidFill>
                  <a:schemeClr val="accent4"/>
                </a:solidFill>
                <a:latin typeface="Segoe UI Semilight" panose="020B0402040204020203" pitchFamily="34" charset="0"/>
                <a:cs typeface="Segoe UI Semilight" panose="020B0402040204020203" pitchFamily="34" charset="0"/>
              </a:rPr>
              <a:t>What does it represent?</a:t>
            </a:r>
            <a:endParaRPr lang="en-US" sz="360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413185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Props1.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2.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517</TotalTime>
  <Words>5680</Words>
  <Application>Microsoft Office PowerPoint</Application>
  <PresentationFormat>Widescreen</PresentationFormat>
  <Paragraphs>517</Paragraphs>
  <Slides>47</Slides>
  <Notes>46</Notes>
  <HiddenSlides>0</HiddenSlides>
  <MMClips>0</MMClips>
  <ScaleCrop>false</ScaleCrop>
  <HeadingPairs>
    <vt:vector size="8" baseType="variant">
      <vt:variant>
        <vt:lpstr>Fonts Used</vt:lpstr>
      </vt:variant>
      <vt:variant>
        <vt:i4>10</vt:i4>
      </vt:variant>
      <vt:variant>
        <vt:lpstr>Theme</vt:lpstr>
      </vt:variant>
      <vt:variant>
        <vt:i4>15</vt:i4>
      </vt:variant>
      <vt:variant>
        <vt:lpstr>Embedded OLE Servers</vt:lpstr>
      </vt:variant>
      <vt:variant>
        <vt:i4>1</vt:i4>
      </vt:variant>
      <vt:variant>
        <vt:lpstr>Slide Titles</vt:lpstr>
      </vt:variant>
      <vt:variant>
        <vt:i4>47</vt:i4>
      </vt:variant>
    </vt:vector>
  </HeadingPairs>
  <TitlesOfParts>
    <vt:vector size="73" baseType="lpstr">
      <vt:lpstr>Arial</vt:lpstr>
      <vt:lpstr>Calibri</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What does it represent?</vt:lpstr>
      <vt:lpstr>Common implementation approach</vt:lpstr>
      <vt:lpstr>PowerPoint Presentation</vt:lpstr>
      <vt:lpstr>PowerPoint Presentation</vt:lpstr>
      <vt:lpstr>PowerPoint Presentation</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10-07T11:5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